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885" r:id="rId6"/>
  </p:sldMasterIdLst>
  <p:notesMasterIdLst>
    <p:notesMasterId r:id="rId19"/>
  </p:notesMasterIdLst>
  <p:handoutMasterIdLst>
    <p:handoutMasterId r:id="rId20"/>
  </p:handoutMasterIdLst>
  <p:sldIdLst>
    <p:sldId id="296" r:id="rId7"/>
    <p:sldId id="405" r:id="rId8"/>
    <p:sldId id="419" r:id="rId9"/>
    <p:sldId id="420" r:id="rId10"/>
    <p:sldId id="422" r:id="rId11"/>
    <p:sldId id="421" r:id="rId12"/>
    <p:sldId id="423" r:id="rId13"/>
    <p:sldId id="424" r:id="rId14"/>
    <p:sldId id="426" r:id="rId15"/>
    <p:sldId id="429" r:id="rId16"/>
    <p:sldId id="428" r:id="rId17"/>
    <p:sldId id="417" r:id="rId18"/>
  </p:sldIdLst>
  <p:sldSz cx="12192000" cy="6858000"/>
  <p:notesSz cx="6858000" cy="9144000"/>
  <p:custDataLst>
    <p:tags r:id="rId2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P CPI Overview" id="{4E249A1C-D928-4AC0-A77C-65440B7A141B}">
          <p14:sldIdLst>
            <p14:sldId id="296"/>
            <p14:sldId id="405"/>
            <p14:sldId id="419"/>
            <p14:sldId id="420"/>
            <p14:sldId id="422"/>
            <p14:sldId id="421"/>
            <p14:sldId id="423"/>
            <p14:sldId id="424"/>
            <p14:sldId id="426"/>
            <p14:sldId id="429"/>
            <p14:sldId id="428"/>
            <p14:sldId id="417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5291" autoAdjust="0"/>
  </p:normalViewPr>
  <p:slideViewPr>
    <p:cSldViewPr>
      <p:cViewPr varScale="1">
        <p:scale>
          <a:sx n="70" d="100"/>
          <a:sy n="70" d="100"/>
        </p:scale>
        <p:origin x="536" y="6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0/0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0/0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620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=""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=""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=""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=""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=""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=""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2580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125473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4230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3077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=""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=""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=""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=""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08265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962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blogs.sap.com/2018/04/10/content-transport-using-cts-cloud-integration-part-1/?preview_id=644115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blogs.sap.com/2018/04/23/getting-started-with-sap-transport-management-service-beta-for-sap-cloud-platform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=""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Version and Transport manag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79749" y="15240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IN" b="1" smtClean="0"/>
              <a:t>1d.  Manual Export</a:t>
            </a:r>
            <a:endParaRPr lang="en-IN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4326" y="1176900"/>
            <a:ext cx="11700000" cy="812099"/>
          </a:xfrm>
        </p:spPr>
        <p:txBody>
          <a:bodyPr>
            <a:norm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 Manual Exports allows us to export </a:t>
            </a:r>
            <a:r>
              <a:rPr lang="en-IN" sz="1800" kern="0" dirty="0">
                <a:solidFill>
                  <a:srgbClr val="002060"/>
                </a:solidFill>
                <a:latin typeface="Arial"/>
              </a:rPr>
              <a:t>the integration package to your local file system in the form of a .zip file. </a:t>
            </a:r>
            <a:endParaRPr lang="en-IN" sz="1800" kern="0" dirty="0" smtClean="0">
              <a:solidFill>
                <a:srgbClr val="002060"/>
              </a:solidFill>
              <a:latin typeface="Arial"/>
            </a:endParaRP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You </a:t>
            </a:r>
            <a:r>
              <a:rPr lang="en-IN" sz="1800" kern="0" dirty="0">
                <a:solidFill>
                  <a:srgbClr val="002060"/>
                </a:solidFill>
                <a:latin typeface="Arial"/>
              </a:rPr>
              <a:t>can import the same file in the </a:t>
            </a: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target </a:t>
            </a:r>
            <a:r>
              <a:rPr lang="en-IN" sz="1800" kern="0" dirty="0">
                <a:solidFill>
                  <a:srgbClr val="002060"/>
                </a:solidFill>
                <a:latin typeface="Arial"/>
              </a:rPr>
              <a:t>tenant using the Import </a:t>
            </a: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option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IN" sz="1800" kern="0" dirty="0">
              <a:solidFill>
                <a:srgbClr val="002060"/>
              </a:solidFill>
              <a:latin typeface="Arial"/>
            </a:endParaRP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IN" sz="1800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8000" y="2061000"/>
            <a:ext cx="1141265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kern="0" dirty="0">
                <a:solidFill>
                  <a:srgbClr val="002060"/>
                </a:solidFill>
                <a:latin typeface="Arial"/>
              </a:rPr>
              <a:t>Procedure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integration package that you want to ex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Choose Ex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 .zip file is downloaded to the default browser download location on your local file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Log in to the SAP Cloud Platform Integration web application to which you want to import the content. Choose 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hoose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Im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 new window opens in your file system explorer, allowing you to access your local file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Navigate to the folder path where the .zip file was downloaded in step 3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file and choose Open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You see a prompt indicating the successful import of the .zip file. You can see the imported integration package in the Design tab of your target tenant.</a:t>
            </a:r>
          </a:p>
        </p:txBody>
      </p:sp>
    </p:spTree>
    <p:extLst>
      <p:ext uri="{BB962C8B-B14F-4D97-AF65-F5344CB8AC3E}">
        <p14:creationId xmlns:p14="http://schemas.microsoft.com/office/powerpoint/2010/main" val="2210889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2.Version Management</a:t>
            </a:r>
            <a:endParaRPr lang="en-IN" b="1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394" y="893092"/>
            <a:ext cx="11240548" cy="648000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Versioning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is the creation and management of multiple releases of a software/component, all of which have the same general function but are improved, upgraded or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ustomized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2677" y="1541092"/>
            <a:ext cx="10152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In SAP Cloud Platform Integration, new version is created when a component, which is already shipped and is being used by the customers needs to be improved or updated. </a:t>
            </a:r>
            <a:endParaRPr lang="en-IN" kern="0" dirty="0" smtClean="0">
              <a:solidFill>
                <a:srgbClr val="002060"/>
              </a:solidFill>
              <a:latin typeface="Arial"/>
            </a:endParaRP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New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features are offered via the minor version updates and small fixes like label changes or UI alignments are offered via micro version updates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Each component in SAP Cloud Platform Integration has a version and this version is defined using the paradigm &lt;major&gt;.&lt;minor&gt;.&lt;micro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&gt;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etails of the micro versions are not shown in the design time, as these changes doesn’t affect the scenario and are auto migrated after every software update.</a:t>
            </a:r>
          </a:p>
        </p:txBody>
      </p:sp>
      <p:pic>
        <p:nvPicPr>
          <p:cNvPr id="6" name="Picture 5" descr="https://blogs.sap.com/wp-content/uploads/2017/12/Versioning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00" y="4939703"/>
            <a:ext cx="2880000" cy="93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https://blogs.sap.com/wp-content/uploads/2017/12/Types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3388" y="4939703"/>
            <a:ext cx="2736000" cy="93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https://blogs.sap.com/wp-content/uploads/2017/12/ComponentVersion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777" y="3852583"/>
            <a:ext cx="3009900" cy="21742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6834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68625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+mn-lt"/>
                <a:ea typeface="+mn-ea"/>
                <a:cs typeface="+mn-cs"/>
              </a:rPr>
              <a:t/>
            </a:r>
            <a:br>
              <a:rPr lang="en-US" sz="3200" b="1" dirty="0">
                <a:latin typeface="+mn-lt"/>
                <a:ea typeface="+mn-ea"/>
                <a:cs typeface="+mn-cs"/>
              </a:rPr>
            </a:br>
            <a:r>
              <a:rPr lang="en-US" sz="3200" b="1" dirty="0">
                <a:latin typeface="+mn-lt"/>
                <a:ea typeface="+mn-ea"/>
                <a:cs typeface="+mn-cs"/>
              </a:rPr>
              <a:t>Table of Contents</a:t>
            </a:r>
            <a:endParaRPr lang="en-GB" sz="3200" b="1" dirty="0">
              <a:latin typeface="+mn-lt"/>
              <a:ea typeface="+mn-ea"/>
              <a:cs typeface="+mn-cs"/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99399" y="1504228"/>
            <a:ext cx="3812601" cy="555448"/>
          </a:xfrm>
        </p:spPr>
        <p:txBody>
          <a:bodyPr/>
          <a:lstStyle/>
          <a:p>
            <a:r>
              <a:rPr lang="en-US" dirty="0"/>
              <a:t>Transport </a:t>
            </a:r>
            <a:r>
              <a:rPr lang="en-US" dirty="0" smtClean="0"/>
              <a:t>Management Overview</a:t>
            </a:r>
            <a:endParaRPr lang="en-US" dirty="0"/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899399" y="2148696"/>
            <a:ext cx="2804601" cy="555448"/>
          </a:xfrm>
        </p:spPr>
        <p:txBody>
          <a:bodyPr/>
          <a:lstStyle/>
          <a:p>
            <a:r>
              <a:rPr lang="en-US" dirty="0" smtClean="0"/>
              <a:t>CTS+ Direct</a:t>
            </a:r>
            <a:endParaRPr lang="en-US" dirty="0"/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899399" y="2854099"/>
            <a:ext cx="3708401" cy="555448"/>
          </a:xfrm>
        </p:spPr>
        <p:txBody>
          <a:bodyPr/>
          <a:lstStyle/>
          <a:p>
            <a:r>
              <a:rPr lang="en-IN" dirty="0" smtClean="0"/>
              <a:t>MTAR Download</a:t>
            </a:r>
            <a:endParaRPr lang="en-IN" dirty="0"/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99399" y="3526939"/>
            <a:ext cx="3708401" cy="555448"/>
          </a:xfrm>
        </p:spPr>
        <p:txBody>
          <a:bodyPr/>
          <a:lstStyle/>
          <a:p>
            <a:r>
              <a:rPr lang="en-IN" dirty="0" smtClean="0"/>
              <a:t>Transport Management Service</a:t>
            </a:r>
            <a:endParaRPr lang="en-IN" dirty="0"/>
          </a:p>
        </p:txBody>
      </p:sp>
      <p:sp>
        <p:nvSpPr>
          <p:cNvPr id="46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899399" y="4220799"/>
            <a:ext cx="3708401" cy="555448"/>
          </a:xfrm>
        </p:spPr>
        <p:txBody>
          <a:bodyPr/>
          <a:lstStyle/>
          <a:p>
            <a:r>
              <a:rPr lang="en-IN" dirty="0" smtClean="0"/>
              <a:t>Manual Export</a:t>
            </a:r>
            <a:endParaRPr lang="en-IN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4355C12A-73CF-432A-BF98-DD896761F988}"/>
              </a:ext>
            </a:extLst>
          </p:cNvPr>
          <p:cNvGrpSpPr/>
          <p:nvPr/>
        </p:nvGrpSpPr>
        <p:grpSpPr>
          <a:xfrm>
            <a:off x="7087039" y="1465346"/>
            <a:ext cx="634560" cy="599554"/>
            <a:chOff x="6230532" y="1335315"/>
            <a:chExt cx="1204015" cy="1137596"/>
          </a:xfrm>
        </p:grpSpPr>
        <p:sp>
          <p:nvSpPr>
            <p:cNvPr id="48" name="Oval 20">
              <a:extLst>
                <a:ext uri="{FF2B5EF4-FFF2-40B4-BE49-F238E27FC236}">
                  <a16:creationId xmlns:a16="http://schemas.microsoft.com/office/drawing/2014/main" xmlns="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49" name="Text Placeholder 14">
              <a:extLst>
                <a:ext uri="{FF2B5EF4-FFF2-40B4-BE49-F238E27FC236}">
                  <a16:creationId xmlns:a16="http://schemas.microsoft.com/office/drawing/2014/main" xmlns="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xmlns="" id="{37CE2E9A-D16D-4728-93E9-77D9F10FF84D}"/>
              </a:ext>
            </a:extLst>
          </p:cNvPr>
          <p:cNvGrpSpPr/>
          <p:nvPr/>
        </p:nvGrpSpPr>
        <p:grpSpPr>
          <a:xfrm>
            <a:off x="7087040" y="2148696"/>
            <a:ext cx="634560" cy="599554"/>
            <a:chOff x="6230534" y="1335315"/>
            <a:chExt cx="1204015" cy="1137595"/>
          </a:xfrm>
        </p:grpSpPr>
        <p:sp>
          <p:nvSpPr>
            <p:cNvPr id="51" name="Oval 20">
              <a:extLst>
                <a:ext uri="{FF2B5EF4-FFF2-40B4-BE49-F238E27FC236}">
                  <a16:creationId xmlns:a16="http://schemas.microsoft.com/office/drawing/2014/main" xmlns="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52" name="Text Placeholder 14">
              <a:extLst>
                <a:ext uri="{FF2B5EF4-FFF2-40B4-BE49-F238E27FC236}">
                  <a16:creationId xmlns:a16="http://schemas.microsoft.com/office/drawing/2014/main" xmlns="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a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BF6695B8-A1F9-4BAF-B035-C9665FAD6B20}"/>
              </a:ext>
            </a:extLst>
          </p:cNvPr>
          <p:cNvGrpSpPr/>
          <p:nvPr/>
        </p:nvGrpSpPr>
        <p:grpSpPr>
          <a:xfrm>
            <a:off x="7087040" y="2832046"/>
            <a:ext cx="634560" cy="599554"/>
            <a:chOff x="6230534" y="1335315"/>
            <a:chExt cx="1204015" cy="1137595"/>
          </a:xfrm>
        </p:grpSpPr>
        <p:sp>
          <p:nvSpPr>
            <p:cNvPr id="54" name="Oval 20">
              <a:extLst>
                <a:ext uri="{FF2B5EF4-FFF2-40B4-BE49-F238E27FC236}">
                  <a16:creationId xmlns:a16="http://schemas.microsoft.com/office/drawing/2014/main" xmlns="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55" name="Text Placeholder 14">
              <a:extLst>
                <a:ext uri="{FF2B5EF4-FFF2-40B4-BE49-F238E27FC236}">
                  <a16:creationId xmlns:a16="http://schemas.microsoft.com/office/drawing/2014/main" xmlns="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b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11EEF4D5-4815-4248-AFF4-A3B0893BA6AE}"/>
              </a:ext>
            </a:extLst>
          </p:cNvPr>
          <p:cNvGrpSpPr/>
          <p:nvPr/>
        </p:nvGrpSpPr>
        <p:grpSpPr>
          <a:xfrm>
            <a:off x="7087040" y="3515396"/>
            <a:ext cx="634560" cy="599554"/>
            <a:chOff x="6230534" y="1335315"/>
            <a:chExt cx="1204015" cy="1137595"/>
          </a:xfrm>
        </p:grpSpPr>
        <p:sp>
          <p:nvSpPr>
            <p:cNvPr id="57" name="Oval 20">
              <a:extLst>
                <a:ext uri="{FF2B5EF4-FFF2-40B4-BE49-F238E27FC236}">
                  <a16:creationId xmlns:a16="http://schemas.microsoft.com/office/drawing/2014/main" xmlns="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58" name="Text Placeholder 14">
              <a:extLst>
                <a:ext uri="{FF2B5EF4-FFF2-40B4-BE49-F238E27FC236}">
                  <a16:creationId xmlns:a16="http://schemas.microsoft.com/office/drawing/2014/main" xmlns="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c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xmlns="" id="{72594B11-398B-4F44-BD01-75E581F8C550}"/>
              </a:ext>
            </a:extLst>
          </p:cNvPr>
          <p:cNvGrpSpPr/>
          <p:nvPr/>
        </p:nvGrpSpPr>
        <p:grpSpPr>
          <a:xfrm>
            <a:off x="7087040" y="4198746"/>
            <a:ext cx="634560" cy="599554"/>
            <a:chOff x="6230534" y="1335315"/>
            <a:chExt cx="1204015" cy="1137595"/>
          </a:xfrm>
        </p:grpSpPr>
        <p:sp>
          <p:nvSpPr>
            <p:cNvPr id="60" name="Oval 20">
              <a:extLst>
                <a:ext uri="{FF2B5EF4-FFF2-40B4-BE49-F238E27FC236}">
                  <a16:creationId xmlns:a16="http://schemas.microsoft.com/office/drawing/2014/main" xmlns="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61" name="Text Placeholder 14">
              <a:extLst>
                <a:ext uri="{FF2B5EF4-FFF2-40B4-BE49-F238E27FC236}">
                  <a16:creationId xmlns:a16="http://schemas.microsoft.com/office/drawing/2014/main" xmlns="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d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sp>
        <p:nvSpPr>
          <p:cNvPr id="62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899398" y="4904149"/>
            <a:ext cx="3708401" cy="555448"/>
          </a:xfrm>
        </p:spPr>
        <p:txBody>
          <a:bodyPr/>
          <a:lstStyle/>
          <a:p>
            <a:r>
              <a:rPr lang="en-IN" dirty="0"/>
              <a:t>Version </a:t>
            </a:r>
            <a:r>
              <a:rPr lang="en-IN" dirty="0" smtClean="0"/>
              <a:t>Management</a:t>
            </a:r>
            <a:endParaRPr lang="en-IN" dirty="0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72594B11-398B-4F44-BD01-75E581F8C550}"/>
              </a:ext>
            </a:extLst>
          </p:cNvPr>
          <p:cNvGrpSpPr/>
          <p:nvPr/>
        </p:nvGrpSpPr>
        <p:grpSpPr>
          <a:xfrm>
            <a:off x="7087039" y="4882096"/>
            <a:ext cx="634560" cy="599554"/>
            <a:chOff x="6230534" y="1335315"/>
            <a:chExt cx="1204015" cy="1137595"/>
          </a:xfrm>
        </p:grpSpPr>
        <p:sp>
          <p:nvSpPr>
            <p:cNvPr id="64" name="Oval 20">
              <a:extLst>
                <a:ext uri="{FF2B5EF4-FFF2-40B4-BE49-F238E27FC236}">
                  <a16:creationId xmlns:a16="http://schemas.microsoft.com/office/drawing/2014/main" xmlns="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65" name="Text Placeholder 14">
              <a:extLst>
                <a:ext uri="{FF2B5EF4-FFF2-40B4-BE49-F238E27FC236}">
                  <a16:creationId xmlns:a16="http://schemas.microsoft.com/office/drawing/2014/main" xmlns="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2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290920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build="p"/>
      <p:bldP spid="43" grpId="0" build="p"/>
      <p:bldP spid="44" grpId="0" build="p"/>
      <p:bldP spid="45" grpId="0" build="p"/>
      <p:bldP spid="46" grpId="0" build="p"/>
      <p:bldP spid="6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1.Transport Management Overview</a:t>
            </a:r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4C0A455-9DE7-45F0-8DEB-BB9FBDEA11CF}"/>
              </a:ext>
            </a:extLst>
          </p:cNvPr>
          <p:cNvSpPr/>
          <p:nvPr/>
        </p:nvSpPr>
        <p:spPr>
          <a:xfrm>
            <a:off x="713967" y="1433176"/>
            <a:ext cx="5598033" cy="283154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64A"/>
                </a:solidFill>
                <a:latin typeface="Arial"/>
              </a:rPr>
              <a:t>Content Transport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Management allows us to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reuse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content between multiple tenants by exporting it from one tenant and importing it on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another. 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64A"/>
                </a:solidFill>
                <a:latin typeface="Arial"/>
              </a:rPr>
              <a:t>All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hese process has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prerequisites. These setup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he background configuration of Transport systems to the CPI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system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64A"/>
                </a:solidFill>
                <a:latin typeface="Arial"/>
              </a:rPr>
              <a:t>User needs </a:t>
            </a:r>
            <a:r>
              <a:rPr lang="en-IN" kern="0" dirty="0" err="1">
                <a:solidFill>
                  <a:srgbClr val="00264A"/>
                </a:solidFill>
                <a:latin typeface="Arial"/>
              </a:rPr>
              <a:t>IntegrationContent.Transport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to Transport the components in CPI</a:t>
            </a:r>
            <a:endParaRPr lang="en-IN" kern="0" dirty="0">
              <a:solidFill>
                <a:srgbClr val="00264A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N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0194" y="693000"/>
            <a:ext cx="5507417" cy="361563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284" y="4308632"/>
            <a:ext cx="7098585" cy="181707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904000" y="4509000"/>
            <a:ext cx="1942185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IN" kern="0" dirty="0">
                <a:solidFill>
                  <a:srgbClr val="00264A"/>
                </a:solidFill>
                <a:latin typeface="Arial"/>
              </a:rPr>
              <a:t>Dropdown list provides the Transport modes supported</a:t>
            </a:r>
          </a:p>
        </p:txBody>
      </p:sp>
      <p:sp>
        <p:nvSpPr>
          <p:cNvPr id="9" name="Right Arrow 8"/>
          <p:cNvSpPr/>
          <p:nvPr/>
        </p:nvSpPr>
        <p:spPr>
          <a:xfrm>
            <a:off x="8040000" y="4986868"/>
            <a:ext cx="648000" cy="230303"/>
          </a:xfrm>
          <a:prstGeom prst="rightArrow">
            <a:avLst/>
          </a:prstGeom>
          <a:solidFill>
            <a:srgbClr val="0070A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07821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a.CTS+ Direct</a:t>
            </a:r>
            <a:endParaRPr lang="en-IN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268999"/>
            <a:ext cx="11556652" cy="576001"/>
          </a:xfrm>
        </p:spPr>
        <p:txBody>
          <a:bodyPr/>
          <a:lstStyle/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This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ransport feature enables us to transport the integration package from the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Dev/Test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o the production landscape via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Change and Transport System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CTS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+.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2061000"/>
            <a:ext cx="11556652" cy="3744000"/>
          </a:xfrm>
        </p:spPr>
        <p:txBody>
          <a:bodyPr>
            <a:noAutofit/>
          </a:bodyPr>
          <a:lstStyle/>
          <a:p>
            <a:pPr marL="457200" lvl="1" indent="0" defTabSz="957756">
              <a:buNone/>
            </a:pPr>
            <a:r>
              <a:rPr lang="en-IN" b="1" kern="0" dirty="0" smtClean="0">
                <a:solidFill>
                  <a:srgbClr val="00264A"/>
                </a:solidFill>
                <a:latin typeface="Arial"/>
              </a:rPr>
              <a:t>Settings to be done to enable CTS+ based transport</a:t>
            </a:r>
            <a:endParaRPr lang="en-IN" b="1" kern="0" dirty="0">
              <a:solidFill>
                <a:srgbClr val="00264A"/>
              </a:solidFill>
              <a:latin typeface="Arial"/>
            </a:endParaRP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You should enable transport to CTS+. As a Tenant Admin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you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can do this by accessing Settings Option and choosing the tab Transport Settings. You would have to choose either ‘MTAR Download’ or ‘CTS+ Direct’ from the dropdown list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Enable the service, Solutions Lifecycle Management in your account. Ensure that you perform this step in all the accounts where you want to use content transport using CTS+. This is a one-time activity. You can do that by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Login to your account in the SAP Cloud Platform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hoose Services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Solutions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Lifecycle Management  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hoose Enable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reate a new HTTP destination by selecting Configure Destinations. Ensure that the Name of the destination is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Cloud Integration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(case-sensitive) and the URL is the URL of the tenant management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node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  <a:hlinkClick r:id="rId2"/>
              </a:rPr>
              <a:t>https://blogs.sap.com/2018/04/10/content-transport-using-cts-cloud-integration-part-1/?</a:t>
            </a:r>
            <a:r>
              <a:rPr lang="en-IN" kern="0" dirty="0" smtClean="0">
                <a:solidFill>
                  <a:srgbClr val="00264A"/>
                </a:solidFill>
                <a:latin typeface="Arial"/>
                <a:hlinkClick r:id="rId2"/>
              </a:rPr>
              <a:t>preview_id=644115</a:t>
            </a:r>
            <a:endParaRPr lang="en-IN" kern="0" dirty="0" smtClean="0">
              <a:solidFill>
                <a:srgbClr val="00264A"/>
              </a:solidFill>
              <a:latin typeface="Arial"/>
            </a:endParaRP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1308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1a.CTS+ Direct</a:t>
            </a:r>
            <a:endParaRPr lang="en-IN" b="1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1053000"/>
            <a:ext cx="11556652" cy="864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 err="1">
                <a:solidFill>
                  <a:srgbClr val="002060"/>
                </a:solidFill>
                <a:latin typeface="Arial"/>
              </a:rPr>
              <a:t>CTS+Direct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would push MTAR content to an open Transport request in the configured CTS+ system maintained as a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Destination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the Test/Source tenant, select the integration package that you want to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transport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.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2060400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 smtClean="0">
                <a:solidFill>
                  <a:srgbClr val="002060"/>
                </a:solidFill>
                <a:latin typeface="Arial"/>
              </a:rPr>
              <a:t>Click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on Transport.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2550939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the Transport Comments prompt, provide comments and click on Transport.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3010461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Transport id will be displayed as shown above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3717000"/>
            <a:ext cx="6957677" cy="228741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2000" y="4102175"/>
            <a:ext cx="4069425" cy="1517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170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a.CTS+ Direct</a:t>
            </a:r>
            <a:endParaRPr lang="en-IN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504387" y="1279182"/>
            <a:ext cx="11556652" cy="4341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1" indent="-285750" defTabSz="957756"/>
            <a:r>
              <a:rPr lang="en-IN" kern="0" smtClean="0">
                <a:solidFill>
                  <a:srgbClr val="002060"/>
                </a:solidFill>
                <a:latin typeface="Arial"/>
              </a:rPr>
              <a:t>Navigate to target system and select the transport ID request and click on Import.</a:t>
            </a:r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02142" y="1845000"/>
            <a:ext cx="11556652" cy="1380314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Confirm Import with Date: Immediate and Import Options as: Leave Transport Requests in Queue for Later Import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The Integration package is imported into the Production tenant Account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case of errors, you can check the logs by selecting the Import request and clicking on Logs button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4000" y="3225720"/>
            <a:ext cx="9302371" cy="201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641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b.  MTAR Download</a:t>
            </a:r>
            <a:endParaRPr lang="en-IN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1154964"/>
          </a:xfrm>
          <a:ln>
            <a:noFill/>
          </a:ln>
        </p:spPr>
        <p:txBody>
          <a:bodyPr>
            <a:normAutofit lnSpcReduction="10000"/>
          </a:bodyPr>
          <a:lstStyle/>
          <a:p>
            <a:pPr marL="457200" lvl="1" indent="0" defTabSz="957756">
              <a:buNone/>
            </a:pPr>
            <a:endParaRPr lang="en-IN" kern="0" dirty="0" smtClean="0">
              <a:solidFill>
                <a:srgbClr val="00264A"/>
              </a:solidFill>
              <a:latin typeface="Arial"/>
            </a:endParaRPr>
          </a:p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Transport Mode has to be set to MTAR Download in Settings tab of CPI.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In the Source/Test tenant, Select the integration package that you want to transport.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Click on Transport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2205000"/>
            <a:ext cx="10584000" cy="1479927"/>
          </a:xfrm>
          <a:ln>
            <a:noFill/>
          </a:ln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A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file with extension .</a:t>
            </a:r>
            <a:r>
              <a:rPr lang="en-IN" kern="0" dirty="0" err="1">
                <a:solidFill>
                  <a:srgbClr val="00264A"/>
                </a:solidFill>
                <a:latin typeface="Arial"/>
              </a:rPr>
              <a:t>mtar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 is downloaded to your local file system in the download path configured in your browser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Ensure that the Integration flows to be transported are not in Draft State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CTS+ is used to transport applications that are downloaded as MTAR files. Multiple MTA archives can be deployed to your subaccount in one run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6000" y="3933000"/>
            <a:ext cx="6765517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873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b.  MTAR Download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1442964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b="1" kern="0" dirty="0" smtClean="0">
                <a:solidFill>
                  <a:srgbClr val="002060"/>
                </a:solidFill>
                <a:latin typeface="Arial"/>
              </a:rPr>
              <a:t>Steps needed in CTS+ Configuration: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060"/>
                </a:solidFill>
                <a:latin typeface="Arial"/>
              </a:rPr>
              <a:t>Transport Source and Target system has to be set in CTS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Login to the 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WebUI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-&gt; Transport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Organizer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Click on Create Request – a pop up will open with the below details. Enter a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and click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on Create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  <a:p>
            <a:pPr marL="457200" lvl="1" indent="0" defTabSz="957756">
              <a:buNone/>
            </a:pPr>
            <a:endParaRPr lang="en-IN" kern="0" dirty="0" smtClean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56000" y="2556404"/>
            <a:ext cx="518400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In Object List tab, Click on Attach and browse for the .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mtar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file from your local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Application as “CPI – Multi Target Application” and click on “Add to List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”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Click on Attach. The transport request will be updated. Click on Save Changes in the Object list tab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fter you have added one or more MTA archives in the request. Click on Release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Using CTS the released TR can be imported to the Target system.</a:t>
            </a:r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0000" y="2571036"/>
            <a:ext cx="5792675" cy="3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132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27349" y="117000"/>
            <a:ext cx="11125236" cy="9330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IN" b="1" smtClean="0"/>
              <a:t>1c.  Transport Management Service</a:t>
            </a:r>
            <a:endParaRPr lang="en-IN" b="1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506964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loud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Platform Integration customers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an transport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Integration Packages across Tenants using Cloud Based Transport Management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Service.</a:t>
            </a:r>
            <a:endParaRPr lang="en-IN" kern="0" dirty="0" smtClean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88929" y="1629000"/>
            <a:ext cx="5184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AP Cloud Platform Transport Management runs in SAP Cloud Platform Cloud Foundry Environment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 files can be transported in one of the following scenarios: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irectly from within another application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y are available on local file system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88929" y="3732325"/>
            <a:ext cx="4631071" cy="203132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teps needed can be referenced from the below link: </a:t>
            </a:r>
            <a:r>
              <a:rPr lang="en-IN" kern="0" dirty="0" smtClean="0">
                <a:solidFill>
                  <a:srgbClr val="002060"/>
                </a:solidFill>
                <a:latin typeface="Arial"/>
                <a:hlinkClick r:id="rId2"/>
              </a:rPr>
              <a:t>https://blogs.sap.com/2018/04/23/getting-started-with-sap-transport-management-service-beta-for-sap-cloud-platform/</a:t>
            </a:r>
            <a:endParaRPr lang="en-IN" kern="0" dirty="0" smtClean="0">
              <a:solidFill>
                <a:srgbClr val="002060"/>
              </a:solidFill>
              <a:latin typeface="Arial"/>
            </a:endParaRPr>
          </a:p>
          <a:p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7084" y="2133000"/>
            <a:ext cx="5942745" cy="2729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61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6855704-6D70-4A33-9833-F5B8C5030450}"/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04b4b45-45c6-4ff8-ab7c-012ed1925f38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87</TotalTime>
  <Words>1005</Words>
  <Application>Microsoft Office PowerPoint</Application>
  <PresentationFormat>Widescreen</PresentationFormat>
  <Paragraphs>85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Verdana</vt:lpstr>
      <vt:lpstr>Wingdings</vt:lpstr>
      <vt:lpstr>Capgemini Master</vt:lpstr>
      <vt:lpstr>Cover options</vt:lpstr>
      <vt:lpstr>Title Slide</vt:lpstr>
      <vt:lpstr>think-cell Slide</vt:lpstr>
      <vt:lpstr>PowerPoint Presentation</vt:lpstr>
      <vt:lpstr> Table of Contents</vt:lpstr>
      <vt:lpstr>1.Transport Management Overview</vt:lpstr>
      <vt:lpstr>1a.CTS+ Direct</vt:lpstr>
      <vt:lpstr>1a.CTS+ Direct</vt:lpstr>
      <vt:lpstr>1a.CTS+ Direct</vt:lpstr>
      <vt:lpstr>1b.  MTAR Download</vt:lpstr>
      <vt:lpstr>1b.  MTAR Download</vt:lpstr>
      <vt:lpstr>PowerPoint Presentation</vt:lpstr>
      <vt:lpstr>PowerPoint Presentation</vt:lpstr>
      <vt:lpstr>2.Version Management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V, Ganesh</cp:lastModifiedBy>
  <cp:revision>34</cp:revision>
  <dcterms:created xsi:type="dcterms:W3CDTF">2019-06-24T10:07:26Z</dcterms:created>
  <dcterms:modified xsi:type="dcterms:W3CDTF">2021-02-10T11:5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